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1009" r:id="rId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B02487-9CC9-41EB-AD83-673E5FBD0BC0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D1B018-FF98-40B1-8E40-11691A3078C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669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voir</a:t>
            </a:r>
            <a:r>
              <a:rPr lang="en-GB" baseline="0" dirty="0"/>
              <a:t> le layout</a:t>
            </a:r>
          </a:p>
          <a:p>
            <a:r>
              <a:rPr lang="en-GB" baseline="0" dirty="0" err="1"/>
              <a:t>Sourc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467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F49215-C4CE-4477-9F9C-A9AA8E3386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FE700F2-55FB-42D6-858E-B44EA1ED33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D104393-D707-4548-B3CC-F89C1829E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DE3F082-46AF-4E5E-A12A-D3F0CA624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E34D3B3-E21A-4CC7-91D2-CD26D2E3B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1347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0C063C-C06B-42AE-8FAD-880AD5D57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E50CD48-8486-49A5-969A-9887CE202D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C052C8B-A920-4F47-88AE-7F4C02D46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1FD4B3F-B354-4DF4-9F0F-F3B84EE44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247B0AD-1DE3-483D-9EF2-6D760BD2D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88122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E597069-0BD7-4BA2-947B-9F43444BFE9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DCFE522-E65C-45AB-8706-35BDDB233D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D67D12C-31F0-465B-909F-2658701E8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C694644-74C0-4D17-919F-C2BAC7941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60A32AF-A457-4B76-A843-9FA45EFE5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206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64619" y="6525344"/>
            <a:ext cx="52738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2000" tIns="72000" rIns="72000" bIns="72000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000" b="0" noProof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4590DE-1D45-46E2-877A-CC76F7540D9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334435" y="206115"/>
            <a:ext cx="108975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2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4433" y="6525344"/>
            <a:ext cx="11330187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2000" rIns="72000" bIns="72000" numCol="1" anchor="b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sz="1000">
                <a:solidFill>
                  <a:srgbClr val="3366FF"/>
                </a:solidFill>
                <a:latin typeface="Arial" pitchFamily="34" charset="0"/>
                <a:ea typeface="ＭＳ Ｐゴシック" pitchFamily="-8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22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4FA57-A899-4F32-ACD5-59677A1FF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DAD5F51-6235-406F-AC57-8E7F33D7CE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3D64CAE-5875-4A2C-9707-E1509A3CE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607A4F9-60BE-4C78-983C-A89C5C7F5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FD58D86-99C3-4F39-B1EF-7455D0DB3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0277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E058F6-073E-4D28-B8F2-92EA1AE45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C7971C8-1285-467E-8ECF-4C1D610F01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6BECCF-3FDF-47A4-9624-432730C9A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8D4F8A-D1E3-458E-BDD2-0D1903195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A02B2AB-1C48-46B5-843A-060719F01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4573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89F935-B33B-4AD2-847D-DDDE67DE8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FDE7E59-E16D-4A8D-A7F4-8FD473562E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DFADD85-56B4-4F79-ADE2-97E5112305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5401DC8-CE51-4F6C-8906-AE79DD54E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45510EF-EEB5-4A6F-BC77-A7961459B2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FDA22C5-E5AC-4E5E-A62B-3A3243CEA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93838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6F11EE9-FBB0-4146-863E-A1F29915C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2096455-FE26-4F1E-BDF1-5A55E1B94B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C7E3BED-760C-4810-948D-D849587DE0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6A31AC9-EDEB-4572-BA63-4D3FCF3CE4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99BBFD74-B7D9-48FA-AF29-7BEF841A2E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0C14A6F-4F08-4845-9FAF-F934158D5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0E992676-DA0B-43CC-B25C-2597F99D5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A82E0DA-B7C4-4F92-A58D-4836BADC6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2713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316078-3295-48D3-A71D-EA1D437DA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D062BA8-BE3C-4B0B-B409-DBDACA082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2A9BC5-1C8B-4956-B459-AB9DEFE2D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5237EE7-239C-4D7E-8720-CA76E9F95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88018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B49D42B-50DC-4517-A7C2-23311C1087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277DAD5-3B42-4938-898B-E6D09CBFC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61F69AA-FF0F-4433-AD64-E37E63427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0262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599C019-AA3D-48A2-B88B-152938779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A4A4D-3D1F-434F-8BB4-8B47392B2A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6D28ADD-B58B-4454-BE50-3CED96CD78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EC5C5B9-7E63-4E35-B50A-E4AC20298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3EACEE8-DB2F-44BA-85AE-CDE556C32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48A8D17-F49A-4405-AF52-7D32AD656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3970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B03457-C2E0-419C-A5F0-79F6353FE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80DCE9B-A2F3-4083-8E07-42654189B4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D4DBD7B-C70A-40F0-B6C7-68285A4095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50277AE-D113-4237-94D4-12313FAB0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5E1F2A6-7581-49B7-BABA-4C3E61635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1E8040F-B22B-4EF8-89CB-17F332047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1253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BC59F4B-E8B9-4C08-B75F-A18011DEA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770A715-DFDA-4418-8FAA-35B039DD8A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3BC5293-800B-45C8-AD66-C54EEB8AD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FAA9F7-C46C-4002-935B-70D7EBC7FE68}" type="datetimeFigureOut">
              <a:rPr lang="fr-FR" smtClean="0"/>
              <a:t>09/04/2018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1E8C22-74D7-4E49-85B9-EFDFBD100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033B75A-11BA-44E3-A205-9CC8EF1EF6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C02AB6-83B1-4A43-B2F8-A9D66763B0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996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450406" y="6525344"/>
            <a:ext cx="741593" cy="324000"/>
          </a:xfrm>
        </p:spPr>
        <p:txBody>
          <a:bodyPr/>
          <a:lstStyle/>
          <a:p>
            <a:fld id="{E14590DE-1D45-46E2-877A-CC76F7540D9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4435" y="206115"/>
            <a:ext cx="2593213" cy="307777"/>
          </a:xfrm>
        </p:spPr>
        <p:txBody>
          <a:bodyPr lIns="72000"/>
          <a:lstStyle/>
          <a:p>
            <a:r>
              <a:rPr lang="en-US" dirty="0" err="1">
                <a:solidFill>
                  <a:schemeClr val="tx1"/>
                </a:solidFill>
              </a:rPr>
              <a:t>BILnet</a:t>
            </a:r>
            <a:r>
              <a:rPr lang="en-US" dirty="0">
                <a:solidFill>
                  <a:schemeClr val="tx1"/>
                </a:solidFill>
              </a:rPr>
              <a:t> ID Now (2/4)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BDA0A462-D23D-4427-AA46-751893574B6F}"/>
              </a:ext>
            </a:extLst>
          </p:cNvPr>
          <p:cNvGrpSpPr/>
          <p:nvPr/>
        </p:nvGrpSpPr>
        <p:grpSpPr>
          <a:xfrm>
            <a:off x="7242556" y="981344"/>
            <a:ext cx="4546136" cy="3347756"/>
            <a:chOff x="7572164" y="981344"/>
            <a:chExt cx="4216528" cy="3347756"/>
          </a:xfrm>
        </p:grpSpPr>
        <p:sp>
          <p:nvSpPr>
            <p:cNvPr id="46" name="Rectangle 45"/>
            <p:cNvSpPr/>
            <p:nvPr/>
          </p:nvSpPr>
          <p:spPr bwMode="auto">
            <a:xfrm>
              <a:off x="7629466" y="981344"/>
              <a:ext cx="4035151" cy="39604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87312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-1" charset="-128"/>
                </a:rPr>
                <a:t>COMMENTS</a:t>
              </a:r>
              <a:endParaRPr kumimoji="0" lang="en-GB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" charset="-128"/>
              </a:endParaRPr>
            </a:p>
          </p:txBody>
        </p:sp>
        <p:cxnSp>
          <p:nvCxnSpPr>
            <p:cNvPr id="47" name="Straight Connector 46"/>
            <p:cNvCxnSpPr>
              <a:cxnSpLocks/>
            </p:cNvCxnSpPr>
            <p:nvPr/>
          </p:nvCxnSpPr>
          <p:spPr bwMode="auto">
            <a:xfrm flipV="1">
              <a:off x="7629468" y="1341384"/>
              <a:ext cx="4035150" cy="1"/>
            </a:xfrm>
            <a:prstGeom prst="line">
              <a:avLst/>
            </a:prstGeom>
            <a:solidFill>
              <a:srgbClr val="702F8A"/>
            </a:solidFill>
            <a:ln w="285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8" name="Rectangle 47"/>
            <p:cNvSpPr/>
            <p:nvPr/>
          </p:nvSpPr>
          <p:spPr bwMode="auto">
            <a:xfrm>
              <a:off x="7572164" y="1341382"/>
              <a:ext cx="4216528" cy="298771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1450" indent="-171450" algn="l" defTabSz="873125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kumimoji="0" lang="en-US" sz="1200" i="0" u="none" strike="noStrike" cap="none" normalizeH="0" dirty="0">
                  <a:ln>
                    <a:noFill/>
                  </a:ln>
                  <a:solidFill>
                    <a:srgbClr val="FF0000"/>
                  </a:solidFill>
                  <a:effectLst/>
                  <a:latin typeface="Arial" charset="0"/>
                  <a:ea typeface="ＭＳ Ｐゴシック" pitchFamily="-1" charset="-128"/>
                </a:rPr>
                <a:t>Procedure iDnow</a:t>
              </a:r>
            </a:p>
            <a:p>
              <a:pPr algn="l" defTabSz="873125">
                <a:spcBef>
                  <a:spcPts val="0"/>
                </a:spcBef>
              </a:pPr>
              <a: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ＭＳ Ｐゴシック" pitchFamily="-1" charset="-128"/>
                </a:rPr>
                <a:t>***********************************************</a:t>
              </a:r>
              <a:endParaRPr kumimoji="0" lang="en-GB" sz="1200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rial" charset="0"/>
                <a:ea typeface="ＭＳ Ｐゴシック" pitchFamily="-1" charset="-128"/>
              </a:endParaRPr>
            </a:p>
            <a:p>
              <a:pPr marL="171450" indent="-171450" algn="l" defTabSz="873125">
                <a:spcBef>
                  <a:spcPts val="0"/>
                </a:spcBef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pitchFamily="-1" charset="-128"/>
              </a:endParaRPr>
            </a:p>
            <a:p>
              <a:pPr marL="171450" indent="-171450" algn="just" defTabSz="873125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ＭＳ Ｐゴシック" pitchFamily="-1" charset="-128"/>
                </a:rPr>
                <a:t>Lancement du module d’identification et validation des documents d’identité du client via le partenaire iDnow.</a:t>
              </a:r>
            </a:p>
            <a:p>
              <a:pPr marL="171450" indent="-171450" algn="just" defTabSz="873125">
                <a:spcBef>
                  <a:spcPts val="0"/>
                </a:spcBef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pitchFamily="-1" charset="-128"/>
              </a:endParaRPr>
            </a:p>
            <a:p>
              <a:pPr marL="171450" indent="-171450" algn="just" defTabSz="873125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ＭＳ Ｐゴシック" pitchFamily="-1" charset="-128"/>
                </a:rPr>
                <a:t>L’utilisateur sera contacté par Visio par le partenaire et enregistrera l’ensemble de ses documents.</a:t>
              </a:r>
            </a:p>
            <a:p>
              <a:pPr marL="171450" indent="-171450" algn="just" defTabSz="873125">
                <a:spcBef>
                  <a:spcPts val="0"/>
                </a:spcBef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pitchFamily="-1" charset="-128"/>
              </a:endParaRPr>
            </a:p>
            <a:p>
              <a:pPr marR="0" algn="l" defTabSz="87312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tabLst/>
              </a:pPr>
              <a:endParaRPr kumimoji="0" lang="en-GB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-1" charset="-128"/>
              </a:endParaRPr>
            </a:p>
          </p:txBody>
        </p:sp>
      </p:grpSp>
      <p:grpSp>
        <p:nvGrpSpPr>
          <p:cNvPr id="6" name="Groupe 5">
            <a:extLst>
              <a:ext uri="{FF2B5EF4-FFF2-40B4-BE49-F238E27FC236}">
                <a16:creationId xmlns:a16="http://schemas.microsoft.com/office/drawing/2014/main" id="{B7300A6B-96EA-4967-8748-FC044C09A3E4}"/>
              </a:ext>
            </a:extLst>
          </p:cNvPr>
          <p:cNvGrpSpPr/>
          <p:nvPr/>
        </p:nvGrpSpPr>
        <p:grpSpPr>
          <a:xfrm>
            <a:off x="628964" y="932454"/>
            <a:ext cx="2761163" cy="5656397"/>
            <a:chOff x="799006" y="953527"/>
            <a:chExt cx="2761163" cy="5656397"/>
          </a:xfrm>
        </p:grpSpPr>
        <p:pic>
          <p:nvPicPr>
            <p:cNvPr id="16" name="Picture 15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99417" y="988657"/>
              <a:ext cx="2560342" cy="5543993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  <a:softEdge rad="762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Image 12" descr="Une image contenant moniteur&#10;&#10;Description générée avec un niveau de confiance élevé">
              <a:extLst>
                <a:ext uri="{FF2B5EF4-FFF2-40B4-BE49-F238E27FC236}">
                  <a16:creationId xmlns:a16="http://schemas.microsoft.com/office/drawing/2014/main" id="{8CD588F0-A380-42AD-A7BF-9EE016230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006" y="953527"/>
              <a:ext cx="2761163" cy="5656397"/>
            </a:xfrm>
            <a:prstGeom prst="rect">
              <a:avLst/>
            </a:prstGeom>
          </p:spPr>
        </p:pic>
      </p:grpSp>
      <p:grpSp>
        <p:nvGrpSpPr>
          <p:cNvPr id="7" name="Groupe 6">
            <a:extLst>
              <a:ext uri="{FF2B5EF4-FFF2-40B4-BE49-F238E27FC236}">
                <a16:creationId xmlns:a16="http://schemas.microsoft.com/office/drawing/2014/main" id="{CEDFFD02-EA17-40F7-9173-73F1EC4A24CE}"/>
              </a:ext>
            </a:extLst>
          </p:cNvPr>
          <p:cNvGrpSpPr/>
          <p:nvPr/>
        </p:nvGrpSpPr>
        <p:grpSpPr>
          <a:xfrm>
            <a:off x="3935760" y="932454"/>
            <a:ext cx="2761163" cy="5656397"/>
            <a:chOff x="3935760" y="932454"/>
            <a:chExt cx="2761163" cy="5656397"/>
          </a:xfrm>
        </p:grpSpPr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D794EA69-E024-4A78-8EAE-6C021A1386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85533"/>
            <a:stretch/>
          </p:blipFill>
          <p:spPr>
            <a:xfrm>
              <a:off x="4126363" y="5708035"/>
              <a:ext cx="2466174" cy="718097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B66CD739-7A3A-4820-B8DA-7E6FF16008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6060" b="14223"/>
            <a:stretch/>
          </p:blipFill>
          <p:spPr>
            <a:xfrm>
              <a:off x="4126505" y="1104498"/>
              <a:ext cx="2470199" cy="4617277"/>
            </a:xfrm>
            <a:prstGeom prst="rect">
              <a:avLst/>
            </a:prstGeom>
          </p:spPr>
        </p:pic>
        <p:pic>
          <p:nvPicPr>
            <p:cNvPr id="17" name="Image 16" descr="Une image contenant moniteur&#10;&#10;Description générée avec un niveau de confiance élevé">
              <a:extLst>
                <a:ext uri="{FF2B5EF4-FFF2-40B4-BE49-F238E27FC236}">
                  <a16:creationId xmlns:a16="http://schemas.microsoft.com/office/drawing/2014/main" id="{9EE0564E-4B96-44A3-821C-2DFEE5441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5760" y="932454"/>
              <a:ext cx="2761163" cy="5656397"/>
            </a:xfrm>
            <a:prstGeom prst="rect">
              <a:avLst/>
            </a:prstGeom>
          </p:spPr>
        </p:pic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350E3213-C89C-40BE-B5E2-82D50804FFAE}"/>
              </a:ext>
            </a:extLst>
          </p:cNvPr>
          <p:cNvGrpSpPr/>
          <p:nvPr/>
        </p:nvGrpSpPr>
        <p:grpSpPr>
          <a:xfrm>
            <a:off x="6438605" y="1039654"/>
            <a:ext cx="5273824" cy="5361955"/>
            <a:chOff x="4976437" y="8656"/>
            <a:chExt cx="6858000" cy="6858000"/>
          </a:xfrm>
        </p:grpSpPr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D990A38C-B0F9-4C5B-A3C3-2F614A4B9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6437" y="8656"/>
              <a:ext cx="6858000" cy="6858000"/>
            </a:xfrm>
            <a:prstGeom prst="rect">
              <a:avLst/>
            </a:prstGeom>
          </p:spPr>
        </p:pic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91747350-1515-4D13-B7C4-3BC05261C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46775" y="800707"/>
              <a:ext cx="2967488" cy="5266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63071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Grand écran</PresentationFormat>
  <Paragraphs>12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Calibri Light</vt:lpstr>
      <vt:lpstr>Thème Office</vt:lpstr>
      <vt:lpstr>think-cell Slide</vt:lpstr>
      <vt:lpstr>BILnet ID Now (2/4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net ID Now (2/4)</dc:title>
  <dc:creator>BERGER Adrien</dc:creator>
  <cp:lastModifiedBy>BERGER Adrien</cp:lastModifiedBy>
  <cp:revision>1</cp:revision>
  <dcterms:created xsi:type="dcterms:W3CDTF">2018-04-09T15:27:27Z</dcterms:created>
  <dcterms:modified xsi:type="dcterms:W3CDTF">2018-04-09T15:27:44Z</dcterms:modified>
</cp:coreProperties>
</file>